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07.xml" ContentType="application/vnd.openxmlformats-officedocument.presentationml.slide+xml"/>
  <Override PartName="/ppt/tags/tag35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50.xml" ContentType="application/vnd.openxmlformats-officedocument.presentationml.tags+xml"/>
  <Override PartName="/ppt/tags/tag354.xml" ContentType="application/vnd.openxmlformats-officedocument.presentationml.tags+xml"/>
  <Override PartName="/ppt/tags/tag359.xml" ContentType="application/vnd.openxmlformats-officedocument.presentationml.tags+xml"/>
  <Override PartName="/ppt/tags/tag349.xml" ContentType="application/vnd.openxmlformats-officedocument.presentationml.tags+xml"/>
  <Override PartName="/ppt/tags/tag353.xml" ContentType="application/vnd.openxmlformats-officedocument.presentationml.tags+xml"/>
  <Override PartName="/ppt/tags/tag358.xml" ContentType="application/vnd.openxmlformats-officedocument.presentationml.tags+xml"/>
  <Override PartName="/ppt/tags/tag352.xml" ContentType="application/vnd.openxmlformats-officedocument.presentationml.tags+xml"/>
  <Override PartName="/ppt/tags/tag357.xml" ContentType="application/vnd.openxmlformats-officedocument.presentationml.tags+xml"/>
  <Override PartName="/ppt/tags/tag351.xml" ContentType="application/vnd.openxmlformats-officedocument.presentationml.tags+xml"/>
  <Override PartName="/ppt/tags/tag356.xml" ContentType="application/vnd.openxmlformats-officedocument.presentationml.tags+xml"/>
  <Override PartName="/ppt/notesSlides/notesSlide10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796" r:id="rId11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07.xml" Id="rId11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1.vml.rels>&#65279;<?xml version="1.0" encoding="utf-8"?><Relationships xmlns="http://schemas.openxmlformats.org/package/2006/relationships"><Relationship Type="http://schemas.openxmlformats.org/officeDocument/2006/relationships/image" Target="/ppt/media/image133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7.xml.rels>&#65279;<?xml version="1.0" encoding="utf-8"?><Relationships xmlns="http://schemas.openxmlformats.org/package/2006/relationships"><Relationship Type="http://schemas.openxmlformats.org/officeDocument/2006/relationships/slide" Target="/ppt/slides/slide107.xml" Id="rId2" /><Relationship Type="http://schemas.openxmlformats.org/officeDocument/2006/relationships/notesMaster" Target="/ppt/notesMasters/notesMaster1.xml" Id="rId1" /></Relationship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38157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7.xml.rels>&#65279;<?xml version="1.0" encoding="utf-8"?><Relationships xmlns="http://schemas.openxmlformats.org/package/2006/relationships"><Relationship Type="http://schemas.openxmlformats.org/officeDocument/2006/relationships/tags" Target="/ppt/tags/tag355.xml" Id="rId8" /><Relationship Type="http://schemas.openxmlformats.org/officeDocument/2006/relationships/slideLayout" Target="/ppt/slideLayouts/slideLayout5.xml" Id="rId13" /><Relationship Type="http://schemas.openxmlformats.org/officeDocument/2006/relationships/tags" Target="/ppt/tags/tag350.xml" Id="rId3" /><Relationship Type="http://schemas.openxmlformats.org/officeDocument/2006/relationships/tags" Target="/ppt/tags/tag354.xml" Id="rId7" /><Relationship Type="http://schemas.openxmlformats.org/officeDocument/2006/relationships/tags" Target="/ppt/tags/tag359.xml" Id="rId12" /><Relationship Type="http://schemas.openxmlformats.org/officeDocument/2006/relationships/tags" Target="/ppt/tags/tag349.xml" Id="rId2" /><Relationship Type="http://schemas.openxmlformats.org/officeDocument/2006/relationships/image" Target="/ppt/media/image133.emf" Id="rId16" /><Relationship Type="http://schemas.openxmlformats.org/officeDocument/2006/relationships/vmlDrawing" Target="/ppt/drawings/vmlDrawing111.vml" Id="rId1" /><Relationship Type="http://schemas.openxmlformats.org/officeDocument/2006/relationships/tags" Target="/ppt/tags/tag353.xml" Id="rId6" /><Relationship Type="http://schemas.openxmlformats.org/officeDocument/2006/relationships/tags" Target="/ppt/tags/tag358.xml" Id="rId11" /><Relationship Type="http://schemas.openxmlformats.org/officeDocument/2006/relationships/tags" Target="/ppt/tags/tag352.xml" Id="rId5" /><Relationship Type="http://schemas.openxmlformats.org/officeDocument/2006/relationships/oleObject" Target="/ppt/embeddings/oleObject111.bin" Id="rId15" /><Relationship Type="http://schemas.openxmlformats.org/officeDocument/2006/relationships/tags" Target="/ppt/tags/tag357.xml" Id="rId10" /><Relationship Type="http://schemas.openxmlformats.org/officeDocument/2006/relationships/tags" Target="/ppt/tags/tag351.xml" Id="rId4" /><Relationship Type="http://schemas.openxmlformats.org/officeDocument/2006/relationships/tags" Target="/ppt/tags/tag356.xml" Id="rId9" /><Relationship Type="http://schemas.openxmlformats.org/officeDocument/2006/relationships/notesSlide" Target="/ppt/notesSlides/notesSlide107.xml" Id="rId14" /></Relationships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8944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3" name="think-cell 幻灯片" r:id="rId15" imgW="350" imgH="350" progId="TCLayout.ActiveDocument.1">
                  <p:embed/>
                </p:oleObj>
              </mc:Choice>
              <mc:Fallback>
                <p:oleObj name="think-cell 幻灯片" r:id="rId15" imgW="350" imgH="35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el 22">
            <a:extLst>
              <a:ext uri="{FF2B5EF4-FFF2-40B4-BE49-F238E27FC236}">
                <a16:creationId xmlns:a16="http://schemas.microsoft.com/office/drawing/2014/main" id="{8F4D34C5-E426-8614-CB14-FFB2011C4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ive steps </a:t>
            </a:r>
          </a:p>
        </p:txBody>
      </p:sp>
      <p:sp>
        <p:nvSpPr>
          <p:cNvPr id="9" name="Rectangle 8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499364" y="2498173"/>
            <a:ext cx="3855802" cy="73295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432000" tIns="72000" rIns="36000" bIns="72000" anchor="ctr"/>
          <a:lstStyle/>
          <a:p>
            <a:pPr>
              <a:lnSpc>
                <a:spcPct val="120000"/>
              </a:lnSpc>
            </a:pPr>
            <a:r>
              <a:rPr lang="en-US" sz="1400" b="1"/>
              <a:t>Sample text</a:t>
            </a:r>
          </a:p>
        </p:txBody>
      </p:sp>
      <p:sp>
        <p:nvSpPr>
          <p:cNvPr id="13" name="Rectangle 8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81209" y="3439009"/>
            <a:ext cx="4373958" cy="73295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432000" tIns="72000" rIns="36000" bIns="72000" anchor="ctr"/>
          <a:lstStyle/>
          <a:p>
            <a:pPr>
              <a:lnSpc>
                <a:spcPct val="120000"/>
              </a:lnSpc>
            </a:pPr>
            <a:r>
              <a:rPr lang="en-US" sz="1400" b="1"/>
              <a:t>Sample text</a:t>
            </a:r>
          </a:p>
        </p:txBody>
      </p:sp>
      <p:sp>
        <p:nvSpPr>
          <p:cNvPr id="17" name="Rectangle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463041" y="4379845"/>
            <a:ext cx="4892124" cy="73295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432000" tIns="72000" rIns="36000" bIns="72000" anchor="ctr"/>
          <a:lstStyle/>
          <a:p>
            <a:pPr>
              <a:lnSpc>
                <a:spcPct val="120000"/>
              </a:lnSpc>
            </a:pPr>
            <a:r>
              <a:rPr lang="en-US" sz="1400" b="1"/>
              <a:t>Sample text</a:t>
            </a:r>
          </a:p>
        </p:txBody>
      </p:sp>
      <p:sp>
        <p:nvSpPr>
          <p:cNvPr id="21" name="Rectangle 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950071" y="5320682"/>
            <a:ext cx="5405095" cy="73721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432000" tIns="72000" rIns="36000" bIns="72000" anchor="ctr"/>
          <a:lstStyle/>
          <a:p>
            <a:pPr>
              <a:lnSpc>
                <a:spcPct val="120000"/>
              </a:lnSpc>
            </a:pPr>
            <a:r>
              <a:rPr lang="en-US" sz="1400" b="1"/>
              <a:t>Sample text</a:t>
            </a:r>
          </a:p>
        </p:txBody>
      </p:sp>
      <p:sp>
        <p:nvSpPr>
          <p:cNvPr id="41" name="Rectangle 8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023621" y="1557337"/>
            <a:ext cx="3331544" cy="73295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432000" tIns="72000" rIns="36000" bIns="72000" anchor="ctr"/>
          <a:lstStyle/>
          <a:p>
            <a:pPr>
              <a:lnSpc>
                <a:spcPct val="120000"/>
              </a:lnSpc>
            </a:pPr>
            <a:r>
              <a:rPr lang="en-US" sz="1400" b="1"/>
              <a:t>Sample text</a:t>
            </a:r>
          </a:p>
        </p:txBody>
      </p:sp>
      <p:sp>
        <p:nvSpPr>
          <p:cNvPr id="46" name="Rectangle 5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781193" y="1681391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9" name="Rectangle 5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262806" y="2622227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Rectangle 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744419" y="3563063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5" name="Rectangle 5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226033" y="4503899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8" name="Rectangle 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707646" y="5444736"/>
            <a:ext cx="484850" cy="484849"/>
          </a:xfrm>
          <a:prstGeom prst="ellipse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0" tIns="0" rIns="7200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5" name="Rectangle 5">
            <a:extLst>
              <a:ext uri="{FF2B5EF4-FFF2-40B4-BE49-F238E27FC236}">
                <a16:creationId xmlns:a16="http://schemas.microsoft.com/office/drawing/2014/main" id="{84DD0236-0A2A-42B4-BB53-70F226C462C3}"/>
              </a:ext>
            </a:extLst>
          </p:cNvPr>
          <p:cNvSpPr txBox="1">
            <a:spLocks/>
          </p:cNvSpPr>
          <p:nvPr/>
        </p:nvSpPr>
        <p:spPr bwMode="auto">
          <a:xfrm>
            <a:off x="7005723" y="1816159"/>
            <a:ext cx="4356962" cy="2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58186" fontAlgn="base">
              <a:spcBef>
                <a:spcPct val="75000"/>
              </a:spcBef>
              <a:spcAft>
                <a:spcPct val="0"/>
              </a:spcAft>
              <a:buClr>
                <a:srgbClr val="1A9AFA"/>
              </a:buClr>
              <a:buSzPct val="75000"/>
              <a:defRPr/>
            </a:pPr>
            <a:r>
              <a:rPr lang="en-US" sz="1399" kern="0"/>
              <a:t>Lorem ipsum dolor sit </a:t>
            </a:r>
            <a:r>
              <a:rPr lang="en-US" sz="1399" kern="0" err="1"/>
              <a:t>amet</a:t>
            </a:r>
            <a:r>
              <a:rPr lang="en-US" sz="1399" kern="0"/>
              <a:t>, </a:t>
            </a:r>
            <a:r>
              <a:rPr lang="en-US" sz="1399" kern="0" err="1"/>
              <a:t>consectetur</a:t>
            </a:r>
            <a:r>
              <a:rPr lang="en-US" sz="1399" kern="0"/>
              <a:t> </a:t>
            </a:r>
            <a:r>
              <a:rPr lang="en-US" sz="1399" kern="0" err="1"/>
              <a:t>adipiscing</a:t>
            </a:r>
            <a:r>
              <a:rPr lang="en-US" sz="1399" kern="0"/>
              <a:t> </a:t>
            </a:r>
            <a:r>
              <a:rPr lang="en-US" sz="1399" kern="0" err="1"/>
              <a:t>elit</a:t>
            </a:r>
            <a:r>
              <a:rPr lang="en-US" sz="1399" kern="0"/>
              <a:t> 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8C45822-79F5-4667-87E5-A64E243C8BF1}"/>
              </a:ext>
            </a:extLst>
          </p:cNvPr>
          <p:cNvCxnSpPr>
            <a:cxnSpLocks/>
          </p:cNvCxnSpPr>
          <p:nvPr/>
        </p:nvCxnSpPr>
        <p:spPr>
          <a:xfrm>
            <a:off x="6734158" y="1557337"/>
            <a:ext cx="0" cy="732957"/>
          </a:xfrm>
          <a:prstGeom prst="line">
            <a:avLst/>
          </a:prstGeom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6C34F9D-4430-48DE-A670-224D6FEA1F71}"/>
              </a:ext>
            </a:extLst>
          </p:cNvPr>
          <p:cNvGrpSpPr>
            <a:grpSpLocks/>
          </p:cNvGrpSpPr>
          <p:nvPr/>
        </p:nvGrpSpPr>
        <p:grpSpPr>
          <a:xfrm>
            <a:off x="6597591" y="1787249"/>
            <a:ext cx="273134" cy="273134"/>
            <a:chOff x="3744687" y="2420095"/>
            <a:chExt cx="291578" cy="291578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7F9D3FD2-F9FE-4823-9D1F-C8967537432D}"/>
                </a:ext>
              </a:extLst>
            </p:cNvPr>
            <p:cNvSpPr>
              <a:spLocks/>
            </p:cNvSpPr>
            <p:nvPr/>
          </p:nvSpPr>
          <p:spPr>
            <a:xfrm>
              <a:off x="3744687" y="2420095"/>
              <a:ext cx="291578" cy="29157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81" tIns="35981" rIns="35981" bIns="35981" rtlCol="0" anchor="ctr" anchorCtr="0"/>
            <a:lstStyle/>
            <a:p>
              <a:pPr algn="ctr"/>
              <a:endParaRPr lang="en-US" sz="1099" err="1">
                <a:solidFill>
                  <a:schemeClr val="bg1"/>
                </a:solidFill>
              </a:endParaRPr>
            </a:p>
          </p:txBody>
        </p:sp>
        <p:sp>
          <p:nvSpPr>
            <p:cNvPr id="80" name="Graphic 16">
              <a:extLst>
                <a:ext uri="{FF2B5EF4-FFF2-40B4-BE49-F238E27FC236}">
                  <a16:creationId xmlns:a16="http://schemas.microsoft.com/office/drawing/2014/main" id="{C01F8C79-CAA5-46AA-9F4E-2FEA224436F5}"/>
                </a:ext>
              </a:extLst>
            </p:cNvPr>
            <p:cNvSpPr>
              <a:spLocks/>
            </p:cNvSpPr>
            <p:nvPr/>
          </p:nvSpPr>
          <p:spPr>
            <a:xfrm rot="5400000" flipV="1">
              <a:off x="3815061" y="2518735"/>
              <a:ext cx="178444" cy="94299"/>
            </a:xfrm>
            <a:custGeom>
              <a:avLst/>
              <a:gdLst>
                <a:gd name="connsiteX0" fmla="*/ 1158798 w 1171575"/>
                <a:gd name="connsiteY0" fmla="*/ 26903 h 619125"/>
                <a:gd name="connsiteX1" fmla="*/ 1158798 w 1171575"/>
                <a:gd name="connsiteY1" fmla="*/ 26903 h 619125"/>
                <a:gd name="connsiteX2" fmla="*/ 1049356 w 1171575"/>
                <a:gd name="connsiteY2" fmla="*/ 18807 h 619125"/>
                <a:gd name="connsiteX3" fmla="*/ 588822 w 1171575"/>
                <a:gd name="connsiteY3" fmla="*/ 416285 h 619125"/>
                <a:gd name="connsiteX4" fmla="*/ 128193 w 1171575"/>
                <a:gd name="connsiteY4" fmla="*/ 18902 h 619125"/>
                <a:gd name="connsiteX5" fmla="*/ 18846 w 1171575"/>
                <a:gd name="connsiteY5" fmla="*/ 26903 h 619125"/>
                <a:gd name="connsiteX6" fmla="*/ 26942 w 1171575"/>
                <a:gd name="connsiteY6" fmla="*/ 136345 h 619125"/>
                <a:gd name="connsiteX7" fmla="*/ 588917 w 1171575"/>
                <a:gd name="connsiteY7" fmla="*/ 621168 h 619125"/>
                <a:gd name="connsiteX8" fmla="*/ 1150892 w 1171575"/>
                <a:gd name="connsiteY8" fmla="*/ 136345 h 619125"/>
                <a:gd name="connsiteX9" fmla="*/ 1158798 w 1171575"/>
                <a:gd name="connsiteY9" fmla="*/ 26903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575" h="619125">
                  <a:moveTo>
                    <a:pt x="1158798" y="26903"/>
                  </a:moveTo>
                  <a:lnTo>
                    <a:pt x="1158798" y="26903"/>
                  </a:lnTo>
                  <a:cubicBezTo>
                    <a:pt x="1130794" y="-5577"/>
                    <a:pt x="1081836" y="-9101"/>
                    <a:pt x="1049356" y="18807"/>
                  </a:cubicBezTo>
                  <a:lnTo>
                    <a:pt x="588822" y="416285"/>
                  </a:lnTo>
                  <a:lnTo>
                    <a:pt x="128193" y="18902"/>
                  </a:lnTo>
                  <a:cubicBezTo>
                    <a:pt x="95808" y="-9101"/>
                    <a:pt x="46849" y="-5482"/>
                    <a:pt x="18846" y="26903"/>
                  </a:cubicBezTo>
                  <a:cubicBezTo>
                    <a:pt x="-9158" y="59383"/>
                    <a:pt x="-5538" y="108342"/>
                    <a:pt x="26942" y="136345"/>
                  </a:cubicBezTo>
                  <a:lnTo>
                    <a:pt x="588917" y="621168"/>
                  </a:lnTo>
                  <a:lnTo>
                    <a:pt x="1150892" y="136345"/>
                  </a:lnTo>
                  <a:cubicBezTo>
                    <a:pt x="1183182" y="108342"/>
                    <a:pt x="1186801" y="59383"/>
                    <a:pt x="1158798" y="2690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sp>
        <p:nvSpPr>
          <p:cNvPr id="81" name="Rectangle 5">
            <a:extLst>
              <a:ext uri="{FF2B5EF4-FFF2-40B4-BE49-F238E27FC236}">
                <a16:creationId xmlns:a16="http://schemas.microsoft.com/office/drawing/2014/main" id="{CE835C29-EBBC-4E06-A6C8-9996F2908AE0}"/>
              </a:ext>
            </a:extLst>
          </p:cNvPr>
          <p:cNvSpPr txBox="1">
            <a:spLocks/>
          </p:cNvSpPr>
          <p:nvPr/>
        </p:nvSpPr>
        <p:spPr bwMode="auto">
          <a:xfrm>
            <a:off x="7005723" y="2756994"/>
            <a:ext cx="4356962" cy="2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58186" fontAlgn="base">
              <a:spcBef>
                <a:spcPct val="75000"/>
              </a:spcBef>
              <a:spcAft>
                <a:spcPct val="0"/>
              </a:spcAft>
              <a:buClr>
                <a:srgbClr val="1A9AFA"/>
              </a:buClr>
              <a:buSzPct val="75000"/>
              <a:defRPr/>
            </a:pPr>
            <a:r>
              <a:rPr lang="en-US" sz="1399" kern="0"/>
              <a:t>Lorem ipsum dolor sit </a:t>
            </a:r>
            <a:r>
              <a:rPr lang="en-US" sz="1399" kern="0" err="1"/>
              <a:t>amet</a:t>
            </a:r>
            <a:r>
              <a:rPr lang="en-US" sz="1399" kern="0"/>
              <a:t>, </a:t>
            </a:r>
            <a:r>
              <a:rPr lang="en-US" sz="1399" kern="0" err="1"/>
              <a:t>consectetur</a:t>
            </a:r>
            <a:r>
              <a:rPr lang="en-US" sz="1399" kern="0"/>
              <a:t> </a:t>
            </a:r>
            <a:r>
              <a:rPr lang="en-US" sz="1399" kern="0" err="1"/>
              <a:t>adipiscing</a:t>
            </a:r>
            <a:r>
              <a:rPr lang="en-US" sz="1399" kern="0"/>
              <a:t> </a:t>
            </a:r>
            <a:r>
              <a:rPr lang="en-US" sz="1399" kern="0" err="1"/>
              <a:t>elit</a:t>
            </a:r>
            <a:r>
              <a:rPr lang="en-US" sz="1399" kern="0"/>
              <a:t> 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87231EE-17AE-4BBD-8D9E-3F52A1AE57B3}"/>
              </a:ext>
            </a:extLst>
          </p:cNvPr>
          <p:cNvCxnSpPr>
            <a:cxnSpLocks/>
          </p:cNvCxnSpPr>
          <p:nvPr/>
        </p:nvCxnSpPr>
        <p:spPr>
          <a:xfrm>
            <a:off x="6734158" y="2498173"/>
            <a:ext cx="0" cy="732957"/>
          </a:xfrm>
          <a:prstGeom prst="line">
            <a:avLst/>
          </a:prstGeom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5">
            <a:extLst>
              <a:ext uri="{FF2B5EF4-FFF2-40B4-BE49-F238E27FC236}">
                <a16:creationId xmlns:a16="http://schemas.microsoft.com/office/drawing/2014/main" id="{09CB4C9A-B9FC-42BF-AA47-1B1F979E1AB5}"/>
              </a:ext>
            </a:extLst>
          </p:cNvPr>
          <p:cNvSpPr txBox="1">
            <a:spLocks/>
          </p:cNvSpPr>
          <p:nvPr/>
        </p:nvSpPr>
        <p:spPr bwMode="auto">
          <a:xfrm>
            <a:off x="7005723" y="3697830"/>
            <a:ext cx="4356962" cy="2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58186" fontAlgn="base">
              <a:spcBef>
                <a:spcPct val="75000"/>
              </a:spcBef>
              <a:spcAft>
                <a:spcPct val="0"/>
              </a:spcAft>
              <a:buClr>
                <a:srgbClr val="1A9AFA"/>
              </a:buClr>
              <a:buSzPct val="75000"/>
              <a:defRPr/>
            </a:pPr>
            <a:r>
              <a:rPr lang="en-US" sz="1399" kern="0"/>
              <a:t>Lorem ipsum dolor sit </a:t>
            </a:r>
            <a:r>
              <a:rPr lang="en-US" sz="1399" kern="0" err="1"/>
              <a:t>amet</a:t>
            </a:r>
            <a:r>
              <a:rPr lang="en-US" sz="1399" kern="0"/>
              <a:t>, </a:t>
            </a:r>
            <a:r>
              <a:rPr lang="en-US" sz="1399" kern="0" err="1"/>
              <a:t>consectetur</a:t>
            </a:r>
            <a:r>
              <a:rPr lang="en-US" sz="1399" kern="0"/>
              <a:t> </a:t>
            </a:r>
            <a:r>
              <a:rPr lang="en-US" sz="1399" kern="0" err="1"/>
              <a:t>adipiscing</a:t>
            </a:r>
            <a:r>
              <a:rPr lang="en-US" sz="1399" kern="0"/>
              <a:t> </a:t>
            </a:r>
            <a:r>
              <a:rPr lang="en-US" sz="1399" kern="0" err="1"/>
              <a:t>elit</a:t>
            </a:r>
            <a:r>
              <a:rPr lang="en-US" sz="1399" kern="0"/>
              <a:t> 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F537378-7336-4138-B141-BF1C9DA3C97C}"/>
              </a:ext>
            </a:extLst>
          </p:cNvPr>
          <p:cNvCxnSpPr>
            <a:cxnSpLocks/>
          </p:cNvCxnSpPr>
          <p:nvPr/>
        </p:nvCxnSpPr>
        <p:spPr>
          <a:xfrm>
            <a:off x="6734158" y="3439009"/>
            <a:ext cx="0" cy="732957"/>
          </a:xfrm>
          <a:prstGeom prst="line">
            <a:avLst/>
          </a:prstGeom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5">
            <a:extLst>
              <a:ext uri="{FF2B5EF4-FFF2-40B4-BE49-F238E27FC236}">
                <a16:creationId xmlns:a16="http://schemas.microsoft.com/office/drawing/2014/main" id="{4628BD65-CB2E-44F4-9C36-DD04157790CF}"/>
              </a:ext>
            </a:extLst>
          </p:cNvPr>
          <p:cNvSpPr txBox="1">
            <a:spLocks/>
          </p:cNvSpPr>
          <p:nvPr/>
        </p:nvSpPr>
        <p:spPr bwMode="auto">
          <a:xfrm>
            <a:off x="7005723" y="4638666"/>
            <a:ext cx="4356962" cy="2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58186" fontAlgn="base">
              <a:spcBef>
                <a:spcPct val="75000"/>
              </a:spcBef>
              <a:spcAft>
                <a:spcPct val="0"/>
              </a:spcAft>
              <a:buClr>
                <a:srgbClr val="1A9AFA"/>
              </a:buClr>
              <a:buSzPct val="75000"/>
              <a:defRPr/>
            </a:pPr>
            <a:r>
              <a:rPr lang="en-US" sz="1399" kern="0"/>
              <a:t>Lorem ipsum dolor sit </a:t>
            </a:r>
            <a:r>
              <a:rPr lang="en-US" sz="1399" kern="0" err="1"/>
              <a:t>amet</a:t>
            </a:r>
            <a:r>
              <a:rPr lang="en-US" sz="1399" kern="0"/>
              <a:t>, </a:t>
            </a:r>
            <a:r>
              <a:rPr lang="en-US" sz="1399" kern="0" err="1"/>
              <a:t>consectetur</a:t>
            </a:r>
            <a:r>
              <a:rPr lang="en-US" sz="1399" kern="0"/>
              <a:t> </a:t>
            </a:r>
            <a:r>
              <a:rPr lang="en-US" sz="1399" kern="0" err="1"/>
              <a:t>adipiscing</a:t>
            </a:r>
            <a:r>
              <a:rPr lang="en-US" sz="1399" kern="0"/>
              <a:t> </a:t>
            </a:r>
            <a:r>
              <a:rPr lang="en-US" sz="1399" kern="0" err="1"/>
              <a:t>elit</a:t>
            </a:r>
            <a:r>
              <a:rPr lang="en-US" sz="1399" kern="0"/>
              <a:t> 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24C36EDF-E700-4DB2-B8D4-9C2CB0EEEAE7}"/>
              </a:ext>
            </a:extLst>
          </p:cNvPr>
          <p:cNvCxnSpPr>
            <a:cxnSpLocks/>
          </p:cNvCxnSpPr>
          <p:nvPr/>
        </p:nvCxnSpPr>
        <p:spPr>
          <a:xfrm>
            <a:off x="6734158" y="4379845"/>
            <a:ext cx="0" cy="732957"/>
          </a:xfrm>
          <a:prstGeom prst="line">
            <a:avLst/>
          </a:prstGeom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5">
            <a:extLst>
              <a:ext uri="{FF2B5EF4-FFF2-40B4-BE49-F238E27FC236}">
                <a16:creationId xmlns:a16="http://schemas.microsoft.com/office/drawing/2014/main" id="{A75A3F32-7F6E-4A31-8DFB-126E379865A9}"/>
              </a:ext>
            </a:extLst>
          </p:cNvPr>
          <p:cNvSpPr txBox="1">
            <a:spLocks/>
          </p:cNvSpPr>
          <p:nvPr/>
        </p:nvSpPr>
        <p:spPr bwMode="auto">
          <a:xfrm>
            <a:off x="7005723" y="5579503"/>
            <a:ext cx="4356962" cy="2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158186" fontAlgn="base">
              <a:spcBef>
                <a:spcPct val="75000"/>
              </a:spcBef>
              <a:spcAft>
                <a:spcPct val="0"/>
              </a:spcAft>
              <a:buClr>
                <a:srgbClr val="1A9AFA"/>
              </a:buClr>
              <a:buSzPct val="75000"/>
              <a:defRPr/>
            </a:pPr>
            <a:r>
              <a:rPr lang="en-US" sz="1399" kern="0"/>
              <a:t>Lorem ipsum dolor sit </a:t>
            </a:r>
            <a:r>
              <a:rPr lang="en-US" sz="1399" kern="0" err="1"/>
              <a:t>amet</a:t>
            </a:r>
            <a:r>
              <a:rPr lang="en-US" sz="1399" kern="0"/>
              <a:t>, </a:t>
            </a:r>
            <a:r>
              <a:rPr lang="en-US" sz="1399" kern="0" err="1"/>
              <a:t>consectetur</a:t>
            </a:r>
            <a:r>
              <a:rPr lang="en-US" sz="1399" kern="0"/>
              <a:t> </a:t>
            </a:r>
            <a:r>
              <a:rPr lang="en-US" sz="1399" kern="0" err="1"/>
              <a:t>adipiscing</a:t>
            </a:r>
            <a:r>
              <a:rPr lang="en-US" sz="1399" kern="0"/>
              <a:t> </a:t>
            </a:r>
            <a:r>
              <a:rPr lang="en-US" sz="1399" kern="0" err="1"/>
              <a:t>elit</a:t>
            </a:r>
            <a:r>
              <a:rPr lang="en-US" sz="1399" kern="0"/>
              <a:t> 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ADBE4A5A-75E9-4AFB-AB7A-C5A02C8332C0}"/>
              </a:ext>
            </a:extLst>
          </p:cNvPr>
          <p:cNvCxnSpPr>
            <a:cxnSpLocks/>
          </p:cNvCxnSpPr>
          <p:nvPr/>
        </p:nvCxnSpPr>
        <p:spPr>
          <a:xfrm>
            <a:off x="6734158" y="5320682"/>
            <a:ext cx="0" cy="732957"/>
          </a:xfrm>
          <a:prstGeom prst="line">
            <a:avLst/>
          </a:prstGeom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77">
            <a:extLst>
              <a:ext uri="{FF2B5EF4-FFF2-40B4-BE49-F238E27FC236}">
                <a16:creationId xmlns:a16="http://schemas.microsoft.com/office/drawing/2014/main" id="{A38F38DA-377B-9988-4746-3FA1A1C0488F}"/>
              </a:ext>
            </a:extLst>
          </p:cNvPr>
          <p:cNvGrpSpPr>
            <a:grpSpLocks/>
          </p:cNvGrpSpPr>
          <p:nvPr/>
        </p:nvGrpSpPr>
        <p:grpSpPr>
          <a:xfrm>
            <a:off x="6597591" y="2728084"/>
            <a:ext cx="273134" cy="273134"/>
            <a:chOff x="3744687" y="2420095"/>
            <a:chExt cx="291578" cy="291578"/>
          </a:xfrm>
        </p:grpSpPr>
        <p:sp>
          <p:nvSpPr>
            <p:cNvPr id="7" name="Oval 78">
              <a:extLst>
                <a:ext uri="{FF2B5EF4-FFF2-40B4-BE49-F238E27FC236}">
                  <a16:creationId xmlns:a16="http://schemas.microsoft.com/office/drawing/2014/main" id="{47A2FEA5-6D5C-3768-B5CB-C0F7332CAD6C}"/>
                </a:ext>
              </a:extLst>
            </p:cNvPr>
            <p:cNvSpPr>
              <a:spLocks/>
            </p:cNvSpPr>
            <p:nvPr/>
          </p:nvSpPr>
          <p:spPr>
            <a:xfrm>
              <a:off x="3744687" y="2420095"/>
              <a:ext cx="291578" cy="29157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81" tIns="35981" rIns="35981" bIns="35981" rtlCol="0" anchor="ctr" anchorCtr="0"/>
            <a:lstStyle/>
            <a:p>
              <a:pPr algn="ctr"/>
              <a:endParaRPr lang="en-US" sz="1099" err="1">
                <a:solidFill>
                  <a:schemeClr val="bg1"/>
                </a:solidFill>
              </a:endParaRPr>
            </a:p>
          </p:txBody>
        </p:sp>
        <p:sp>
          <p:nvSpPr>
            <p:cNvPr id="8" name="Graphic 16">
              <a:extLst>
                <a:ext uri="{FF2B5EF4-FFF2-40B4-BE49-F238E27FC236}">
                  <a16:creationId xmlns:a16="http://schemas.microsoft.com/office/drawing/2014/main" id="{D31D9A0E-7AE7-61D8-57D6-64E0A39B02ED}"/>
                </a:ext>
              </a:extLst>
            </p:cNvPr>
            <p:cNvSpPr>
              <a:spLocks/>
            </p:cNvSpPr>
            <p:nvPr/>
          </p:nvSpPr>
          <p:spPr>
            <a:xfrm rot="5400000" flipV="1">
              <a:off x="3815061" y="2518735"/>
              <a:ext cx="178444" cy="94299"/>
            </a:xfrm>
            <a:custGeom>
              <a:avLst/>
              <a:gdLst>
                <a:gd name="connsiteX0" fmla="*/ 1158798 w 1171575"/>
                <a:gd name="connsiteY0" fmla="*/ 26903 h 619125"/>
                <a:gd name="connsiteX1" fmla="*/ 1158798 w 1171575"/>
                <a:gd name="connsiteY1" fmla="*/ 26903 h 619125"/>
                <a:gd name="connsiteX2" fmla="*/ 1049356 w 1171575"/>
                <a:gd name="connsiteY2" fmla="*/ 18807 h 619125"/>
                <a:gd name="connsiteX3" fmla="*/ 588822 w 1171575"/>
                <a:gd name="connsiteY3" fmla="*/ 416285 h 619125"/>
                <a:gd name="connsiteX4" fmla="*/ 128193 w 1171575"/>
                <a:gd name="connsiteY4" fmla="*/ 18902 h 619125"/>
                <a:gd name="connsiteX5" fmla="*/ 18846 w 1171575"/>
                <a:gd name="connsiteY5" fmla="*/ 26903 h 619125"/>
                <a:gd name="connsiteX6" fmla="*/ 26942 w 1171575"/>
                <a:gd name="connsiteY6" fmla="*/ 136345 h 619125"/>
                <a:gd name="connsiteX7" fmla="*/ 588917 w 1171575"/>
                <a:gd name="connsiteY7" fmla="*/ 621168 h 619125"/>
                <a:gd name="connsiteX8" fmla="*/ 1150892 w 1171575"/>
                <a:gd name="connsiteY8" fmla="*/ 136345 h 619125"/>
                <a:gd name="connsiteX9" fmla="*/ 1158798 w 1171575"/>
                <a:gd name="connsiteY9" fmla="*/ 26903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575" h="619125">
                  <a:moveTo>
                    <a:pt x="1158798" y="26903"/>
                  </a:moveTo>
                  <a:lnTo>
                    <a:pt x="1158798" y="26903"/>
                  </a:lnTo>
                  <a:cubicBezTo>
                    <a:pt x="1130794" y="-5577"/>
                    <a:pt x="1081836" y="-9101"/>
                    <a:pt x="1049356" y="18807"/>
                  </a:cubicBezTo>
                  <a:lnTo>
                    <a:pt x="588822" y="416285"/>
                  </a:lnTo>
                  <a:lnTo>
                    <a:pt x="128193" y="18902"/>
                  </a:lnTo>
                  <a:cubicBezTo>
                    <a:pt x="95808" y="-9101"/>
                    <a:pt x="46849" y="-5482"/>
                    <a:pt x="18846" y="26903"/>
                  </a:cubicBezTo>
                  <a:cubicBezTo>
                    <a:pt x="-9158" y="59383"/>
                    <a:pt x="-5538" y="108342"/>
                    <a:pt x="26942" y="136345"/>
                  </a:cubicBezTo>
                  <a:lnTo>
                    <a:pt x="588917" y="621168"/>
                  </a:lnTo>
                  <a:lnTo>
                    <a:pt x="1150892" y="136345"/>
                  </a:lnTo>
                  <a:cubicBezTo>
                    <a:pt x="1183182" y="108342"/>
                    <a:pt x="1186801" y="59383"/>
                    <a:pt x="1158798" y="2690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grpSp>
        <p:nvGrpSpPr>
          <p:cNvPr id="10" name="Group 77">
            <a:extLst>
              <a:ext uri="{FF2B5EF4-FFF2-40B4-BE49-F238E27FC236}">
                <a16:creationId xmlns:a16="http://schemas.microsoft.com/office/drawing/2014/main" id="{009DEAF3-0F0C-7556-B63B-E1D1219792F7}"/>
              </a:ext>
            </a:extLst>
          </p:cNvPr>
          <p:cNvGrpSpPr>
            <a:grpSpLocks/>
          </p:cNvGrpSpPr>
          <p:nvPr/>
        </p:nvGrpSpPr>
        <p:grpSpPr>
          <a:xfrm>
            <a:off x="6597591" y="3668921"/>
            <a:ext cx="273134" cy="273134"/>
            <a:chOff x="3744687" y="2420095"/>
            <a:chExt cx="291578" cy="291578"/>
          </a:xfrm>
        </p:grpSpPr>
        <p:sp>
          <p:nvSpPr>
            <p:cNvPr id="11" name="Oval 78">
              <a:extLst>
                <a:ext uri="{FF2B5EF4-FFF2-40B4-BE49-F238E27FC236}">
                  <a16:creationId xmlns:a16="http://schemas.microsoft.com/office/drawing/2014/main" id="{45EC185D-019D-2B71-111E-5AE5105F457F}"/>
                </a:ext>
              </a:extLst>
            </p:cNvPr>
            <p:cNvSpPr>
              <a:spLocks/>
            </p:cNvSpPr>
            <p:nvPr/>
          </p:nvSpPr>
          <p:spPr>
            <a:xfrm>
              <a:off x="3744687" y="2420095"/>
              <a:ext cx="291578" cy="29157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81" tIns="35981" rIns="35981" bIns="35981" rtlCol="0" anchor="ctr" anchorCtr="0"/>
            <a:lstStyle/>
            <a:p>
              <a:pPr algn="ctr"/>
              <a:endParaRPr lang="en-US" sz="1099" err="1">
                <a:solidFill>
                  <a:schemeClr val="bg1"/>
                </a:solidFill>
              </a:endParaRPr>
            </a:p>
          </p:txBody>
        </p:sp>
        <p:sp>
          <p:nvSpPr>
            <p:cNvPr id="12" name="Graphic 16">
              <a:extLst>
                <a:ext uri="{FF2B5EF4-FFF2-40B4-BE49-F238E27FC236}">
                  <a16:creationId xmlns:a16="http://schemas.microsoft.com/office/drawing/2014/main" id="{631835D8-9C1A-34DB-54A0-66467C1BE998}"/>
                </a:ext>
              </a:extLst>
            </p:cNvPr>
            <p:cNvSpPr>
              <a:spLocks/>
            </p:cNvSpPr>
            <p:nvPr/>
          </p:nvSpPr>
          <p:spPr>
            <a:xfrm rot="5400000" flipV="1">
              <a:off x="3815061" y="2518735"/>
              <a:ext cx="178444" cy="94299"/>
            </a:xfrm>
            <a:custGeom>
              <a:avLst/>
              <a:gdLst>
                <a:gd name="connsiteX0" fmla="*/ 1158798 w 1171575"/>
                <a:gd name="connsiteY0" fmla="*/ 26903 h 619125"/>
                <a:gd name="connsiteX1" fmla="*/ 1158798 w 1171575"/>
                <a:gd name="connsiteY1" fmla="*/ 26903 h 619125"/>
                <a:gd name="connsiteX2" fmla="*/ 1049356 w 1171575"/>
                <a:gd name="connsiteY2" fmla="*/ 18807 h 619125"/>
                <a:gd name="connsiteX3" fmla="*/ 588822 w 1171575"/>
                <a:gd name="connsiteY3" fmla="*/ 416285 h 619125"/>
                <a:gd name="connsiteX4" fmla="*/ 128193 w 1171575"/>
                <a:gd name="connsiteY4" fmla="*/ 18902 h 619125"/>
                <a:gd name="connsiteX5" fmla="*/ 18846 w 1171575"/>
                <a:gd name="connsiteY5" fmla="*/ 26903 h 619125"/>
                <a:gd name="connsiteX6" fmla="*/ 26942 w 1171575"/>
                <a:gd name="connsiteY6" fmla="*/ 136345 h 619125"/>
                <a:gd name="connsiteX7" fmla="*/ 588917 w 1171575"/>
                <a:gd name="connsiteY7" fmla="*/ 621168 h 619125"/>
                <a:gd name="connsiteX8" fmla="*/ 1150892 w 1171575"/>
                <a:gd name="connsiteY8" fmla="*/ 136345 h 619125"/>
                <a:gd name="connsiteX9" fmla="*/ 1158798 w 1171575"/>
                <a:gd name="connsiteY9" fmla="*/ 26903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575" h="619125">
                  <a:moveTo>
                    <a:pt x="1158798" y="26903"/>
                  </a:moveTo>
                  <a:lnTo>
                    <a:pt x="1158798" y="26903"/>
                  </a:lnTo>
                  <a:cubicBezTo>
                    <a:pt x="1130794" y="-5577"/>
                    <a:pt x="1081836" y="-9101"/>
                    <a:pt x="1049356" y="18807"/>
                  </a:cubicBezTo>
                  <a:lnTo>
                    <a:pt x="588822" y="416285"/>
                  </a:lnTo>
                  <a:lnTo>
                    <a:pt x="128193" y="18902"/>
                  </a:lnTo>
                  <a:cubicBezTo>
                    <a:pt x="95808" y="-9101"/>
                    <a:pt x="46849" y="-5482"/>
                    <a:pt x="18846" y="26903"/>
                  </a:cubicBezTo>
                  <a:cubicBezTo>
                    <a:pt x="-9158" y="59383"/>
                    <a:pt x="-5538" y="108342"/>
                    <a:pt x="26942" y="136345"/>
                  </a:cubicBezTo>
                  <a:lnTo>
                    <a:pt x="588917" y="621168"/>
                  </a:lnTo>
                  <a:lnTo>
                    <a:pt x="1150892" y="136345"/>
                  </a:lnTo>
                  <a:cubicBezTo>
                    <a:pt x="1183182" y="108342"/>
                    <a:pt x="1186801" y="59383"/>
                    <a:pt x="1158798" y="2690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grpSp>
        <p:nvGrpSpPr>
          <p:cNvPr id="14" name="Group 77">
            <a:extLst>
              <a:ext uri="{FF2B5EF4-FFF2-40B4-BE49-F238E27FC236}">
                <a16:creationId xmlns:a16="http://schemas.microsoft.com/office/drawing/2014/main" id="{01CE6083-DE90-0502-F743-59F0FAB2FF4A}"/>
              </a:ext>
            </a:extLst>
          </p:cNvPr>
          <p:cNvGrpSpPr>
            <a:grpSpLocks/>
          </p:cNvGrpSpPr>
          <p:nvPr/>
        </p:nvGrpSpPr>
        <p:grpSpPr>
          <a:xfrm>
            <a:off x="6597591" y="4609757"/>
            <a:ext cx="273134" cy="273134"/>
            <a:chOff x="3744687" y="2420095"/>
            <a:chExt cx="291578" cy="291578"/>
          </a:xfrm>
        </p:grpSpPr>
        <p:sp>
          <p:nvSpPr>
            <p:cNvPr id="15" name="Oval 78">
              <a:extLst>
                <a:ext uri="{FF2B5EF4-FFF2-40B4-BE49-F238E27FC236}">
                  <a16:creationId xmlns:a16="http://schemas.microsoft.com/office/drawing/2014/main" id="{684B3B86-F4E7-1522-CCF7-CFA191C7D033}"/>
                </a:ext>
              </a:extLst>
            </p:cNvPr>
            <p:cNvSpPr>
              <a:spLocks/>
            </p:cNvSpPr>
            <p:nvPr/>
          </p:nvSpPr>
          <p:spPr>
            <a:xfrm>
              <a:off x="3744687" y="2420095"/>
              <a:ext cx="291578" cy="29157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81" tIns="35981" rIns="35981" bIns="35981" rtlCol="0" anchor="ctr" anchorCtr="0"/>
            <a:lstStyle/>
            <a:p>
              <a:pPr algn="ctr"/>
              <a:endParaRPr lang="en-US" sz="1099" err="1">
                <a:solidFill>
                  <a:schemeClr val="bg1"/>
                </a:solidFill>
              </a:endParaRPr>
            </a:p>
          </p:txBody>
        </p:sp>
        <p:sp>
          <p:nvSpPr>
            <p:cNvPr id="16" name="Graphic 16">
              <a:extLst>
                <a:ext uri="{FF2B5EF4-FFF2-40B4-BE49-F238E27FC236}">
                  <a16:creationId xmlns:a16="http://schemas.microsoft.com/office/drawing/2014/main" id="{595E2577-0F9D-2C2F-62B7-FCF1D3EC4037}"/>
                </a:ext>
              </a:extLst>
            </p:cNvPr>
            <p:cNvSpPr>
              <a:spLocks/>
            </p:cNvSpPr>
            <p:nvPr/>
          </p:nvSpPr>
          <p:spPr>
            <a:xfrm rot="5400000" flipV="1">
              <a:off x="3815061" y="2518735"/>
              <a:ext cx="178444" cy="94299"/>
            </a:xfrm>
            <a:custGeom>
              <a:avLst/>
              <a:gdLst>
                <a:gd name="connsiteX0" fmla="*/ 1158798 w 1171575"/>
                <a:gd name="connsiteY0" fmla="*/ 26903 h 619125"/>
                <a:gd name="connsiteX1" fmla="*/ 1158798 w 1171575"/>
                <a:gd name="connsiteY1" fmla="*/ 26903 h 619125"/>
                <a:gd name="connsiteX2" fmla="*/ 1049356 w 1171575"/>
                <a:gd name="connsiteY2" fmla="*/ 18807 h 619125"/>
                <a:gd name="connsiteX3" fmla="*/ 588822 w 1171575"/>
                <a:gd name="connsiteY3" fmla="*/ 416285 h 619125"/>
                <a:gd name="connsiteX4" fmla="*/ 128193 w 1171575"/>
                <a:gd name="connsiteY4" fmla="*/ 18902 h 619125"/>
                <a:gd name="connsiteX5" fmla="*/ 18846 w 1171575"/>
                <a:gd name="connsiteY5" fmla="*/ 26903 h 619125"/>
                <a:gd name="connsiteX6" fmla="*/ 26942 w 1171575"/>
                <a:gd name="connsiteY6" fmla="*/ 136345 h 619125"/>
                <a:gd name="connsiteX7" fmla="*/ 588917 w 1171575"/>
                <a:gd name="connsiteY7" fmla="*/ 621168 h 619125"/>
                <a:gd name="connsiteX8" fmla="*/ 1150892 w 1171575"/>
                <a:gd name="connsiteY8" fmla="*/ 136345 h 619125"/>
                <a:gd name="connsiteX9" fmla="*/ 1158798 w 1171575"/>
                <a:gd name="connsiteY9" fmla="*/ 26903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575" h="619125">
                  <a:moveTo>
                    <a:pt x="1158798" y="26903"/>
                  </a:moveTo>
                  <a:lnTo>
                    <a:pt x="1158798" y="26903"/>
                  </a:lnTo>
                  <a:cubicBezTo>
                    <a:pt x="1130794" y="-5577"/>
                    <a:pt x="1081836" y="-9101"/>
                    <a:pt x="1049356" y="18807"/>
                  </a:cubicBezTo>
                  <a:lnTo>
                    <a:pt x="588822" y="416285"/>
                  </a:lnTo>
                  <a:lnTo>
                    <a:pt x="128193" y="18902"/>
                  </a:lnTo>
                  <a:cubicBezTo>
                    <a:pt x="95808" y="-9101"/>
                    <a:pt x="46849" y="-5482"/>
                    <a:pt x="18846" y="26903"/>
                  </a:cubicBezTo>
                  <a:cubicBezTo>
                    <a:pt x="-9158" y="59383"/>
                    <a:pt x="-5538" y="108342"/>
                    <a:pt x="26942" y="136345"/>
                  </a:cubicBezTo>
                  <a:lnTo>
                    <a:pt x="588917" y="621168"/>
                  </a:lnTo>
                  <a:lnTo>
                    <a:pt x="1150892" y="136345"/>
                  </a:lnTo>
                  <a:cubicBezTo>
                    <a:pt x="1183182" y="108342"/>
                    <a:pt x="1186801" y="59383"/>
                    <a:pt x="1158798" y="2690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grpSp>
        <p:nvGrpSpPr>
          <p:cNvPr id="18" name="Group 77">
            <a:extLst>
              <a:ext uri="{FF2B5EF4-FFF2-40B4-BE49-F238E27FC236}">
                <a16:creationId xmlns:a16="http://schemas.microsoft.com/office/drawing/2014/main" id="{B70CD380-4859-55CC-F5AB-761E2B86A2C9}"/>
              </a:ext>
            </a:extLst>
          </p:cNvPr>
          <p:cNvGrpSpPr>
            <a:grpSpLocks/>
          </p:cNvGrpSpPr>
          <p:nvPr/>
        </p:nvGrpSpPr>
        <p:grpSpPr>
          <a:xfrm>
            <a:off x="6597591" y="5550593"/>
            <a:ext cx="273134" cy="273134"/>
            <a:chOff x="3744687" y="2420095"/>
            <a:chExt cx="291578" cy="291578"/>
          </a:xfrm>
        </p:grpSpPr>
        <p:sp>
          <p:nvSpPr>
            <p:cNvPr id="19" name="Oval 78">
              <a:extLst>
                <a:ext uri="{FF2B5EF4-FFF2-40B4-BE49-F238E27FC236}">
                  <a16:creationId xmlns:a16="http://schemas.microsoft.com/office/drawing/2014/main" id="{40D0AAF9-7148-71D6-4626-F1C15A0475EA}"/>
                </a:ext>
              </a:extLst>
            </p:cNvPr>
            <p:cNvSpPr>
              <a:spLocks/>
            </p:cNvSpPr>
            <p:nvPr/>
          </p:nvSpPr>
          <p:spPr>
            <a:xfrm>
              <a:off x="3744687" y="2420095"/>
              <a:ext cx="291578" cy="29157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81" tIns="35981" rIns="35981" bIns="35981" rtlCol="0" anchor="ctr" anchorCtr="0"/>
            <a:lstStyle/>
            <a:p>
              <a:pPr algn="ctr"/>
              <a:endParaRPr lang="en-US" sz="1099" err="1">
                <a:solidFill>
                  <a:schemeClr val="bg1"/>
                </a:solidFill>
              </a:endParaRPr>
            </a:p>
          </p:txBody>
        </p:sp>
        <p:sp>
          <p:nvSpPr>
            <p:cNvPr id="20" name="Graphic 16">
              <a:extLst>
                <a:ext uri="{FF2B5EF4-FFF2-40B4-BE49-F238E27FC236}">
                  <a16:creationId xmlns:a16="http://schemas.microsoft.com/office/drawing/2014/main" id="{1233CE2A-D7E0-6C13-FCF2-710C67F285D4}"/>
                </a:ext>
              </a:extLst>
            </p:cNvPr>
            <p:cNvSpPr>
              <a:spLocks/>
            </p:cNvSpPr>
            <p:nvPr/>
          </p:nvSpPr>
          <p:spPr>
            <a:xfrm rot="5400000" flipV="1">
              <a:off x="3815061" y="2518735"/>
              <a:ext cx="178444" cy="94299"/>
            </a:xfrm>
            <a:custGeom>
              <a:avLst/>
              <a:gdLst>
                <a:gd name="connsiteX0" fmla="*/ 1158798 w 1171575"/>
                <a:gd name="connsiteY0" fmla="*/ 26903 h 619125"/>
                <a:gd name="connsiteX1" fmla="*/ 1158798 w 1171575"/>
                <a:gd name="connsiteY1" fmla="*/ 26903 h 619125"/>
                <a:gd name="connsiteX2" fmla="*/ 1049356 w 1171575"/>
                <a:gd name="connsiteY2" fmla="*/ 18807 h 619125"/>
                <a:gd name="connsiteX3" fmla="*/ 588822 w 1171575"/>
                <a:gd name="connsiteY3" fmla="*/ 416285 h 619125"/>
                <a:gd name="connsiteX4" fmla="*/ 128193 w 1171575"/>
                <a:gd name="connsiteY4" fmla="*/ 18902 h 619125"/>
                <a:gd name="connsiteX5" fmla="*/ 18846 w 1171575"/>
                <a:gd name="connsiteY5" fmla="*/ 26903 h 619125"/>
                <a:gd name="connsiteX6" fmla="*/ 26942 w 1171575"/>
                <a:gd name="connsiteY6" fmla="*/ 136345 h 619125"/>
                <a:gd name="connsiteX7" fmla="*/ 588917 w 1171575"/>
                <a:gd name="connsiteY7" fmla="*/ 621168 h 619125"/>
                <a:gd name="connsiteX8" fmla="*/ 1150892 w 1171575"/>
                <a:gd name="connsiteY8" fmla="*/ 136345 h 619125"/>
                <a:gd name="connsiteX9" fmla="*/ 1158798 w 1171575"/>
                <a:gd name="connsiteY9" fmla="*/ 26903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575" h="619125">
                  <a:moveTo>
                    <a:pt x="1158798" y="26903"/>
                  </a:moveTo>
                  <a:lnTo>
                    <a:pt x="1158798" y="26903"/>
                  </a:lnTo>
                  <a:cubicBezTo>
                    <a:pt x="1130794" y="-5577"/>
                    <a:pt x="1081836" y="-9101"/>
                    <a:pt x="1049356" y="18807"/>
                  </a:cubicBezTo>
                  <a:lnTo>
                    <a:pt x="588822" y="416285"/>
                  </a:lnTo>
                  <a:lnTo>
                    <a:pt x="128193" y="18902"/>
                  </a:lnTo>
                  <a:cubicBezTo>
                    <a:pt x="95808" y="-9101"/>
                    <a:pt x="46849" y="-5482"/>
                    <a:pt x="18846" y="26903"/>
                  </a:cubicBezTo>
                  <a:cubicBezTo>
                    <a:pt x="-9158" y="59383"/>
                    <a:pt x="-5538" y="108342"/>
                    <a:pt x="26942" y="136345"/>
                  </a:cubicBezTo>
                  <a:lnTo>
                    <a:pt x="588917" y="621168"/>
                  </a:lnTo>
                  <a:lnTo>
                    <a:pt x="1150892" y="136345"/>
                  </a:lnTo>
                  <a:cubicBezTo>
                    <a:pt x="1183182" y="108342"/>
                    <a:pt x="1186801" y="59383"/>
                    <a:pt x="1158798" y="26903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11B0E546-CB50-2BDF-2C0D-2CDA080A1E5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5811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ep, plan, plans</a:t>
            </a:r>
          </a:p>
        </p:txBody>
      </p:sp>
    </p:spTree>
    <p:extLst>
      <p:ext uri="{BB962C8B-B14F-4D97-AF65-F5344CB8AC3E}">
        <p14:creationId xmlns:p14="http://schemas.microsoft.com/office/powerpoint/2010/main" val="2650549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lqmVjBkK4DKtg9nXXs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gHd.TC0qPqTq24oU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